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1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59" r:id="rId4"/>
  </p:sldIdLst>
  <p:sldSz cx="12192000" cy="6858000"/>
  <p:notesSz cx="6797675" cy="9926638"/>
  <p:custDataLst>
    <p:tags r:id="rId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F95538-30C6-4CF8-BE3C-1B52517B5166}" v="55951" dt="2024-06-18T10:31:39.69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6552" autoAdjust="0"/>
  </p:normalViewPr>
  <p:slideViewPr>
    <p:cSldViewPr snapToGrid="0">
      <p:cViewPr varScale="1">
        <p:scale>
          <a:sx n="67" d="100"/>
          <a:sy n="67" d="100"/>
        </p:scale>
        <p:origin x="5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273860282059685E-3"/>
          <c:y val="1.8745493871665464E-2"/>
          <c:w val="0.98294522794358807"/>
          <c:h val="0.962509012256669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192000</c:v>
                </c:pt>
                <c:pt idx="1">
                  <c:v>195840</c:v>
                </c:pt>
                <c:pt idx="2">
                  <c:v>199756.80000000002</c:v>
                </c:pt>
                <c:pt idx="3">
                  <c:v>203751.93600000002</c:v>
                </c:pt>
                <c:pt idx="4">
                  <c:v>207826.97472000003</c:v>
                </c:pt>
                <c:pt idx="5">
                  <c:v>211983.51421440003</c:v>
                </c:pt>
                <c:pt idx="6">
                  <c:v>216223.18449868803</c:v>
                </c:pt>
                <c:pt idx="7">
                  <c:v>220547.64818866178</c:v>
                </c:pt>
                <c:pt idx="8">
                  <c:v>224958.60115243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F5-4464-94C3-AD353822C3FD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29000</c:v>
                </c:pt>
                <c:pt idx="1">
                  <c:v>31000</c:v>
                </c:pt>
                <c:pt idx="2">
                  <c:v>33000</c:v>
                </c:pt>
                <c:pt idx="3">
                  <c:v>35000</c:v>
                </c:pt>
                <c:pt idx="4">
                  <c:v>37000</c:v>
                </c:pt>
                <c:pt idx="5">
                  <c:v>39000</c:v>
                </c:pt>
                <c:pt idx="6">
                  <c:v>41000</c:v>
                </c:pt>
                <c:pt idx="7">
                  <c:v>43000</c:v>
                </c:pt>
                <c:pt idx="8">
                  <c:v>45000.0000000000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F5-4464-94C3-AD353822C3FD}"/>
            </c:ext>
          </c:extLst>
        </c:ser>
        <c:ser>
          <c:idx val="2"/>
          <c:order val="2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0">
                  <c:v>1</c:v>
                </c:pt>
                <c:pt idx="1">
                  <c:v>1001</c:v>
                </c:pt>
                <c:pt idx="2">
                  <c:v>2001</c:v>
                </c:pt>
                <c:pt idx="3">
                  <c:v>3001</c:v>
                </c:pt>
                <c:pt idx="4">
                  <c:v>4001</c:v>
                </c:pt>
                <c:pt idx="5">
                  <c:v>5001</c:v>
                </c:pt>
                <c:pt idx="6">
                  <c:v>6001</c:v>
                </c:pt>
                <c:pt idx="7">
                  <c:v>7001</c:v>
                </c:pt>
                <c:pt idx="8">
                  <c:v>8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F5-4464-94C3-AD353822C3FD}"/>
            </c:ext>
          </c:extLst>
        </c:ser>
        <c:ser>
          <c:idx val="3"/>
          <c:order val="3"/>
          <c:spPr>
            <a:solidFill>
              <a:srgbClr val="2C475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I$4</c:f>
              <c:numCache>
                <c:formatCode>General</c:formatCode>
                <c:ptCount val="9"/>
                <c:pt idx="0">
                  <c:v>10000</c:v>
                </c:pt>
                <c:pt idx="1">
                  <c:v>16000</c:v>
                </c:pt>
                <c:pt idx="2">
                  <c:v>22000</c:v>
                </c:pt>
                <c:pt idx="3">
                  <c:v>27999.999999999971</c:v>
                </c:pt>
                <c:pt idx="4">
                  <c:v>34000.000000000029</c:v>
                </c:pt>
                <c:pt idx="5">
                  <c:v>40000</c:v>
                </c:pt>
                <c:pt idx="6">
                  <c:v>46000</c:v>
                </c:pt>
                <c:pt idx="7">
                  <c:v>52000</c:v>
                </c:pt>
                <c:pt idx="8">
                  <c:v>58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6F5-4464-94C3-AD353822C3FD}"/>
            </c:ext>
          </c:extLst>
        </c:ser>
        <c:ser>
          <c:idx val="4"/>
          <c:order val="4"/>
          <c:spPr>
            <a:solidFill>
              <a:srgbClr val="CC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I$5</c:f>
              <c:numCache>
                <c:formatCode>General</c:formatCode>
                <c:ptCount val="9"/>
                <c:pt idx="0">
                  <c:v>45000</c:v>
                </c:pt>
                <c:pt idx="1">
                  <c:v>44000</c:v>
                </c:pt>
                <c:pt idx="2">
                  <c:v>43000.000000000029</c:v>
                </c:pt>
                <c:pt idx="3">
                  <c:v>42000</c:v>
                </c:pt>
                <c:pt idx="4">
                  <c:v>41000</c:v>
                </c:pt>
                <c:pt idx="5">
                  <c:v>40000</c:v>
                </c:pt>
                <c:pt idx="6">
                  <c:v>39000</c:v>
                </c:pt>
                <c:pt idx="7">
                  <c:v>38000</c:v>
                </c:pt>
                <c:pt idx="8">
                  <c:v>3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F5-4464-94C3-AD353822C3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41557744"/>
        <c:axId val="1"/>
      </c:barChart>
      <c:catAx>
        <c:axId val="1541557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541557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Presentation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oleObject" Target="../embeddings/oleObject2.bin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image" Target="../media/image5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chart" Target="../charts/chart1.xml"/><Relationship Id="rId7" Type="http://schemas.openxmlformats.org/officeDocument/2006/relationships/tags" Target="../tags/tag9.xml"/><Relationship Id="rId71" Type="http://schemas.openxmlformats.org/officeDocument/2006/relationships/tags" Target="../tags/tag7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4AAC3D4-F225-AA8F-3CAB-6F303529BE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3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395" imgH="394" progId="TCLayout.ActiveDocument.1">
                  <p:embed/>
                </p:oleObj>
              </mc:Choice>
              <mc:Fallback>
                <p:oleObj name="think-cell Slide" r:id="rId7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986CD8C-4208-A41D-18FA-7E84164720D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548517"/>
              </p:ext>
            </p:extLst>
          </p:nvPr>
        </p:nvGraphicFramePr>
        <p:xfrm>
          <a:off x="903288" y="1776413"/>
          <a:ext cx="9680575" cy="4403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A10D718C-E8CE-9EEA-E3B1-E37A8AC4CC48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H="1">
            <a:off x="927100" y="6097588"/>
            <a:ext cx="58738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0E9D5309-3DE3-DA99-DFBA-87DE168E6B0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11200" y="5991225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017B555-8726-400A-A9EA-12961F47C81D}" type="datetime'''''''''''0''''''''''''''''''''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3" name="Text Placeholder">
            <a:extLst>
              <a:ext uri="{FF2B5EF4-FFF2-40B4-BE49-F238E27FC236}">
                <a16:creationId xmlns:a16="http://schemas.microsoft.com/office/drawing/2014/main" id="{DABEFB65-F66B-F0E5-19DA-F5D57FEECFA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9863" y="4932363"/>
            <a:ext cx="639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7636939-D3CD-480B-8ECB-31089B3A437F}" type="datetime'''10''''''0,''''''''''''0''''0''''''''''''''0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,00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5" name="Text Placeholder">
            <a:extLst>
              <a:ext uri="{FF2B5EF4-FFF2-40B4-BE49-F238E27FC236}">
                <a16:creationId xmlns:a16="http://schemas.microsoft.com/office/drawing/2014/main" id="{F12684F9-4405-0AF6-4584-09D61093BBA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9863" y="3871913"/>
            <a:ext cx="639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D3E0F4A-7D71-43C8-BD20-5DD35BE41794}" type="datetime'''2''''''''''''''''''''''0''''0,0''''0''''''0''''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,00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7" name="Text Placeholder">
            <a:extLst>
              <a:ext uri="{FF2B5EF4-FFF2-40B4-BE49-F238E27FC236}">
                <a16:creationId xmlns:a16="http://schemas.microsoft.com/office/drawing/2014/main" id="{01FD3AB7-8777-9BB8-CD5D-29604072BB8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9863" y="2813050"/>
            <a:ext cx="639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31266DE-B481-4609-B6BB-15FE1C87D4A6}" type="datetime'''''3''''''''''''0''''''''''''''0'',000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,00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9" name="Text Placeholder">
            <a:extLst>
              <a:ext uri="{FF2B5EF4-FFF2-40B4-BE49-F238E27FC236}">
                <a16:creationId xmlns:a16="http://schemas.microsoft.com/office/drawing/2014/main" id="{5338838F-8CF9-4D8C-A7E3-20EF42E0B60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9863" y="1752600"/>
            <a:ext cx="639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4862D14-2ECB-4086-885D-F3C34EA20CDD}" type="datetime'''''''''''''40''''''''''''''''''''0'''''',00''''''0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,000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464" name="Straight Connector 463">
            <a:extLst>
              <a:ext uri="{FF2B5EF4-FFF2-40B4-BE49-F238E27FC236}">
                <a16:creationId xmlns:a16="http://schemas.microsoft.com/office/drawing/2014/main" id="{336C0894-C971-B04C-0CFB-6B535364C8C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V="1">
            <a:off x="1514475" y="1660525"/>
            <a:ext cx="8458200" cy="10287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2" name="Text Placeholder">
            <a:extLst>
              <a:ext uri="{FF2B5EF4-FFF2-40B4-BE49-F238E27FC236}">
                <a16:creationId xmlns:a16="http://schemas.microsoft.com/office/drawing/2014/main" id="{3FD72AF1-1F17-8403-E0AD-0554B60FEF6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304925" y="325913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961A2DC-3C06-4247-9CF0-F7F7E4E91A8C}" type="datetime'''''''4''5'''''''''''''''''''''''''''',''''''0''''''0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AC576450-2B95-451D-B580-964EAC5A0DEF}" type="datetime'1''6''''''''''''''''''%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04" name="Text Placeholder">
            <a:extLst>
              <a:ext uri="{FF2B5EF4-FFF2-40B4-BE49-F238E27FC236}">
                <a16:creationId xmlns:a16="http://schemas.microsoft.com/office/drawing/2014/main" id="{D010CFAD-905F-351A-C86F-C4E231D73EC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11275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77BD5B-6CEA-403F-A9BD-B28248468258}" type="datetime'''''''20''''''''''''''''1''6'''''''''''''''''''''''''''''">
              <a:rPr lang="en-GB" altLang="en-US" smtClean="0">
                <a:solidFill>
                  <a:srgbClr val="000000"/>
                </a:solidFill>
              </a:rPr>
              <a:pPr/>
              <a:t>201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73" name="Text Placeholder">
            <a:extLst>
              <a:ext uri="{FF2B5EF4-FFF2-40B4-BE49-F238E27FC236}">
                <a16:creationId xmlns:a16="http://schemas.microsoft.com/office/drawing/2014/main" id="{74F7ACB7-289E-7B22-B7F0-20037A6873C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27275" y="4906963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9E366EA-CCDD-4FC1-80AA-E9598AF26A8D}" type="datetime'1''''''''''''9''''5'''''''''',''''''8''4''''''0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5,84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718F5E70-4EE8-4707-AC6D-470C6C006B85}" type="datetime'''68%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4" name="Text Placeholder">
            <a:extLst>
              <a:ext uri="{FF2B5EF4-FFF2-40B4-BE49-F238E27FC236}">
                <a16:creationId xmlns:a16="http://schemas.microsoft.com/office/drawing/2014/main" id="{58357E67-28E3-C5CB-682E-414BCFDE50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362200" y="370522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FD1D4CC-11DA-4A32-A706-2E24900FAD94}" type="datetime'''''3''''''''''''''''''''1'''''''''''',''''''0''''00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B3C695D7-81D1-4665-9F41-C2CC9CD5FAFC}" type="datetime'''''''''''1''''''''1''%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5" name="Text Placeholder">
            <a:extLst>
              <a:ext uri="{FF2B5EF4-FFF2-40B4-BE49-F238E27FC236}">
                <a16:creationId xmlns:a16="http://schemas.microsoft.com/office/drawing/2014/main" id="{37C79ADE-4F65-F674-905C-468EED7CF90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362200" y="312737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5EF9A48-BC66-44D6-8A3B-DF2764334488}" type="datetime'''44'''''''''''''''''''''''''''''',00''''''''''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07B9981C-7A06-4596-AF81-CA1629C979D4}" type="datetime'''''''15''%''''''''''''''''''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06" name="Text Placeholder">
            <a:extLst>
              <a:ext uri="{FF2B5EF4-FFF2-40B4-BE49-F238E27FC236}">
                <a16:creationId xmlns:a16="http://schemas.microsoft.com/office/drawing/2014/main" id="{0C971DAA-1B7E-DB77-265D-416B385CAD7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68550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320F825-9C94-46A3-A99F-DF48073BD764}" type="datetime'''''''''''2''''0''''1''''''''''''''''''7'''''''">
              <a:rPr lang="en-GB" altLang="en-US" smtClean="0">
                <a:solidFill>
                  <a:srgbClr val="000000"/>
                </a:solidFill>
              </a:rPr>
              <a:pPr/>
              <a:t>2017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76" name="Text Placeholder">
            <a:extLst>
              <a:ext uri="{FF2B5EF4-FFF2-40B4-BE49-F238E27FC236}">
                <a16:creationId xmlns:a16="http://schemas.microsoft.com/office/drawing/2014/main" id="{7595F2BB-459B-5257-3289-AE5F2F54B9D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384550" y="4886325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7CA61C9-FC57-48F4-955B-4CBAD83F4E97}" type="datetime'''''''''1''''''9''''''''''''''''9'''''''''''''',''''7''5''7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,757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004D235A-7B5A-40E3-BDAD-82E4949E2152}" type="datetime'''6''''''''''''''''7''''''%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7" name="Text Placeholder">
            <a:extLst>
              <a:ext uri="{FF2B5EF4-FFF2-40B4-BE49-F238E27FC236}">
                <a16:creationId xmlns:a16="http://schemas.microsoft.com/office/drawing/2014/main" id="{420F99CA-EC36-17A1-5706-735ECB84A50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19475" y="365283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778ACBC-22A5-42DF-B001-DBFA06E413C2}" type="datetime'''''''''''3''''''''''''''''''''''''3,00''''''''''''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D4DF76D7-2970-4171-A87D-CD38D08E707E}" type="datetime'''''''''1''''''''''''1''''''%''''''''''''''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9" name="Text Placeholder">
            <a:extLst>
              <a:ext uri="{FF2B5EF4-FFF2-40B4-BE49-F238E27FC236}">
                <a16:creationId xmlns:a16="http://schemas.microsoft.com/office/drawing/2014/main" id="{B02C8143-095F-FD6A-622E-37BDF5F328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19475" y="2995613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E8F9DB-969E-45BE-9521-71DF54205AB7}" type="datetime'''''''''''''4''''3,''''''0''''''''''''''''0''''''0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DA48C3CA-8B93-457C-944D-45F17D455E6D}" type="datetime'''14''''''''''''''%''''''''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07" name="Text Placeholder">
            <a:extLst>
              <a:ext uri="{FF2B5EF4-FFF2-40B4-BE49-F238E27FC236}">
                <a16:creationId xmlns:a16="http://schemas.microsoft.com/office/drawing/2014/main" id="{70E5FB8E-267C-D433-FC12-81F1AB9BB67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25825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D55CF2-5630-43C8-9ACC-6AF5BF908B99}" type="datetime'''''2''''0''''''''''''18'''''''''''''''''''''''''">
              <a:rPr lang="en-GB" altLang="en-US" smtClean="0">
                <a:solidFill>
                  <a:srgbClr val="000000"/>
                </a:solidFill>
              </a:rPr>
              <a:pPr/>
              <a:t>2018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80" name="Text Placeholder">
            <a:extLst>
              <a:ext uri="{FF2B5EF4-FFF2-40B4-BE49-F238E27FC236}">
                <a16:creationId xmlns:a16="http://schemas.microsoft.com/office/drawing/2014/main" id="{F8A1110A-99B9-44FA-3AF4-2CD4BCABDB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441825" y="4865688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6E021D-4A64-44FD-A4B6-7BCAEAE6EB05}" type="datetime'''2''''0''3'''',''''''7''5''''''''''''''''''''''''''2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,752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E5A01C7C-6155-40DE-B899-875CA2B97C42}" type="datetime'''''6''''''''''''''5''''''''''''''''''''''''%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81" name="Text Placeholder">
            <a:extLst>
              <a:ext uri="{FF2B5EF4-FFF2-40B4-BE49-F238E27FC236}">
                <a16:creationId xmlns:a16="http://schemas.microsoft.com/office/drawing/2014/main" id="{87B5E081-64B5-1463-66B3-691C4DCE35A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76750" y="3600450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28AC10A-E22D-4479-852F-53C0CA600EA2}" type="datetime'''''''3''''''''5'''''''',0''''''''''''''''''''0''''0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FBA35133-21DD-44A2-9F2B-D138803CCACB}" type="datetime'''''''''''''''''11%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82" name="Text Placeholder">
            <a:extLst>
              <a:ext uri="{FF2B5EF4-FFF2-40B4-BE49-F238E27FC236}">
                <a16:creationId xmlns:a16="http://schemas.microsoft.com/office/drawing/2014/main" id="{276704BB-7AB7-75F2-22CF-FD91BA818C0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76750" y="323373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91D2D80-F834-4F2D-A344-2874DF1C6B1F}" type="datetime'2''''''''8,''0''''''''''''''''''0''''''''''''0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46A67D4E-6EEC-4DCA-96D0-ACC6DAA8A2B6}" type="datetime'9%''''''''''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83" name="Text Placeholder">
            <a:extLst>
              <a:ext uri="{FF2B5EF4-FFF2-40B4-BE49-F238E27FC236}">
                <a16:creationId xmlns:a16="http://schemas.microsoft.com/office/drawing/2014/main" id="{6F54DC31-51FB-06A3-3224-37AE1534B20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476750" y="2863850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C42949-A79A-490A-B7B8-6436160F8B0B}" type="datetime'''''''''''''''''4''''2'''''''',''''''''000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8433ACAB-0CD5-4BEF-81E9-84283ED42206}" type="datetime'''''''''''''1''''''''''''''''''''3''''''''''''''%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946F04D2-D191-BE80-2868-23F4AC33312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483100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0C2018-9356-403E-B20B-1B878C19CECC}" type="datetime'''''''2''''''''''''''0''''''1''''''''''9'''''''">
              <a:rPr lang="en-GB" altLang="en-US" smtClean="0">
                <a:solidFill>
                  <a:srgbClr val="000000"/>
                </a:solidFill>
              </a:rPr>
              <a:pPr/>
              <a:t>201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84" name="Text Placeholder">
            <a:extLst>
              <a:ext uri="{FF2B5EF4-FFF2-40B4-BE49-F238E27FC236}">
                <a16:creationId xmlns:a16="http://schemas.microsoft.com/office/drawing/2014/main" id="{2BB0359D-A47D-87F1-0AB7-4AE12745073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499100" y="4843463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B5EE143-70EA-4518-AA2F-02028117F0EF}" type="datetime'''''20''7'''''''''',''''''''''''''''''8''''''''''''2''7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7,827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334AF4E9-BE1F-45B5-B798-99CAB6847F33}" type="datetime'''''''''''''6''''''''''''''''''''''''4''''''''''%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58" name="Text Placeholder">
            <a:extLst>
              <a:ext uri="{FF2B5EF4-FFF2-40B4-BE49-F238E27FC236}">
                <a16:creationId xmlns:a16="http://schemas.microsoft.com/office/drawing/2014/main" id="{0172962F-B346-DEE7-910C-1F728923D0F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534025" y="354647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39C452E-0D3E-41D6-A9C4-5AFC7BC90958}" type="datetime'''''3''''''7'''',''0''''''''''0''''''''''''''0'''''''''''''">
              <a:rPr lang="en-GB" altLang="en-US" sz="1000" smtClean="0">
                <a:solidFill>
                  <a:srgbClr val="FFFFFF"/>
                </a:solidFill>
              </a:rPr>
              <a:pPr/>
              <a:t>37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147F6A03-45D7-4668-91B7-121CC17D9FCC}" type="datetime'1''''''''''''''''''''''1''%'''''''">
              <a:rPr lang="en-GB" altLang="en-US" sz="1000" smtClean="0">
                <a:solidFill>
                  <a:srgbClr val="FFFFFF"/>
                </a:solidFill>
              </a:rPr>
              <a:pPr/>
              <a:t>11%</a:t>
            </a:fld>
            <a:r>
              <a:rPr lang="en-GB" altLang="en-US" sz="1000">
                <a:solidFill>
                  <a:srgbClr val="FFFFFF"/>
                </a:solidFill>
                <a:effectLst/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85" name="Text Placeholder">
            <a:extLst>
              <a:ext uri="{FF2B5EF4-FFF2-40B4-BE49-F238E27FC236}">
                <a16:creationId xmlns:a16="http://schemas.microsoft.com/office/drawing/2014/main" id="{5E85F4B1-E754-DB44-237B-F52CC120E36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534025" y="312737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66F6B1A-6954-40E6-BB21-96693FE4BDB8}" type="datetime'''''''''''''3''''''4'''''''''''',00''''''''0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16F9D2A2-990D-46F2-B47F-E313B6DF01E0}" type="datetime'''''''''''''1''''''''0''''''''''''''''''''''''''''''''''''''%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86" name="Text Placeholder">
            <a:extLst>
              <a:ext uri="{FF2B5EF4-FFF2-40B4-BE49-F238E27FC236}">
                <a16:creationId xmlns:a16="http://schemas.microsoft.com/office/drawing/2014/main" id="{1D1718F4-E9A4-6CEE-33A6-248A0FBFD40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534025" y="2730500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27AE4A-1E2F-437C-82BF-B5F3666E5642}" type="datetime'''''4''''''''''''''''''''''''''1'''''''''''''''''',''''00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84FE8482-16BD-4208-BAD6-3D90F2E0F952}" type="datetime'''''''1''''3''''''%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31" name="Text Placeholder">
            <a:extLst>
              <a:ext uri="{FF2B5EF4-FFF2-40B4-BE49-F238E27FC236}">
                <a16:creationId xmlns:a16="http://schemas.microsoft.com/office/drawing/2014/main" id="{EFA7B453-D732-9110-2E94-CCB59EFFB69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540375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FEE565A-F444-4A42-80D8-5C44CF63FE63}" type="datetime'''''''''''''''''''''''''''''''''''''''''2''''''02''0'''''">
              <a:rPr lang="en-GB" altLang="en-US" smtClean="0">
                <a:solidFill>
                  <a:srgbClr val="000000"/>
                </a:solidFill>
              </a:rPr>
              <a:pPr/>
              <a:t>202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87" name="Text Placeholder">
            <a:extLst>
              <a:ext uri="{FF2B5EF4-FFF2-40B4-BE49-F238E27FC236}">
                <a16:creationId xmlns:a16="http://schemas.microsoft.com/office/drawing/2014/main" id="{5DC72B90-F880-B98A-9C34-0E0C1F2BAB5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556375" y="4821238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5D59BAC-7BA6-4676-871B-AA62C5C65561}" type="datetime'2''1''1'''',''9''8''''''4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1,984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675CFF8E-0E46-4CFA-9969-0BC95A8287F5}" type="datetime'''''63''''''''''''''''''''''''''''''''''''''''%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88" name="Text Placeholder">
            <a:extLst>
              <a:ext uri="{FF2B5EF4-FFF2-40B4-BE49-F238E27FC236}">
                <a16:creationId xmlns:a16="http://schemas.microsoft.com/office/drawing/2014/main" id="{91218118-02E8-998E-98BB-546F072E494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591300" y="3492500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7CBC460-44EB-4483-A750-5FAA932BD754}" type="datetime'''3''9'''''''',''''''''''''''''''0''0''''''''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AC1C4E47-678B-4BFF-9207-0E98B7C3BADF}" type="datetime'''''''''''''''''''''''''''''1''''2''''''%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89" name="Text Placeholder">
            <a:extLst>
              <a:ext uri="{FF2B5EF4-FFF2-40B4-BE49-F238E27FC236}">
                <a16:creationId xmlns:a16="http://schemas.microsoft.com/office/drawing/2014/main" id="{7BD76C6E-01E4-9E4C-18A5-E5F43C53F63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591300" y="301942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995DEE6-2EAF-4A75-990A-87D73D3D0EF9}" type="datetime'''''''''40'''''''''''''''''''''''''',0''0''0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F90E5EF7-1839-4FBA-AE36-4B9C35B36779}" type="datetime'''''''''''''''''''''''''1''''''2%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0" name="Text Placeholder">
            <a:extLst>
              <a:ext uri="{FF2B5EF4-FFF2-40B4-BE49-F238E27FC236}">
                <a16:creationId xmlns:a16="http://schemas.microsoft.com/office/drawing/2014/main" id="{E2FB01AD-0F13-C9FC-C2F0-2510A55FAFA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591300" y="2595563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8E701E8-9312-4F94-9DAE-101D55DA4BD4}" type="datetime'''4''''''''''0'''''''',0''''0''''''''''''''''0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6A170C06-FBCA-4609-8C36-54240B2084C8}" type="datetime'''''''''''''''''''''''''''1''''''''2''''%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5FFE9115-5EAD-2E2F-4764-C2238F656A4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597650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EC5E4DE-5D22-4B34-AFBF-AF07A2C40225}" type="datetime'''''''20''''2''''''''''''''1'''''''''''''">
              <a:rPr lang="en-GB" altLang="en-US" smtClean="0">
                <a:solidFill>
                  <a:srgbClr val="000000"/>
                </a:solidFill>
              </a:rPr>
              <a:pPr/>
              <a:t>2021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91" name="Text Placeholder">
            <a:extLst>
              <a:ext uri="{FF2B5EF4-FFF2-40B4-BE49-F238E27FC236}">
                <a16:creationId xmlns:a16="http://schemas.microsoft.com/office/drawing/2014/main" id="{ED6767F1-1622-74C1-5EFE-CF175A8FA39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613650" y="4799013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FEC81FF-8125-49A9-9F7F-0D11A706856F}" type="datetime'''''21''6'',''''''''''''''''''''22''''''''''''''''3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6,223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4181ABD9-24E5-48C0-A74D-FC66F7BF4E2B}" type="datetime'''''''''''''''6''''''''''''2''''''''''''''''''''''%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2" name="Text Placeholder">
            <a:extLst>
              <a:ext uri="{FF2B5EF4-FFF2-40B4-BE49-F238E27FC236}">
                <a16:creationId xmlns:a16="http://schemas.microsoft.com/office/drawing/2014/main" id="{FA826F7F-DDDC-36AF-420F-0D3B48FEA6E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648575" y="343693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C6838F-5428-4FBF-9D9D-7122BEBE08B7}" type="datetime'''''''''''''4''''''1'''''''',''00''''''''''0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AE29E777-6D11-408A-AE13-B96E04795139}" type="datetime'''''''1''''''''''''''''2''''''''%''''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3" name="Text Placeholder">
            <a:extLst>
              <a:ext uri="{FF2B5EF4-FFF2-40B4-BE49-F238E27FC236}">
                <a16:creationId xmlns:a16="http://schemas.microsoft.com/office/drawing/2014/main" id="{598A5D01-A936-8CD2-4B39-7EC363F1EA5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648575" y="291147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E2C55B-0D39-4E60-94C6-348B61873EFB}" type="datetime'''''4''''''''''''''''''''''6,''''00''''''''''''''0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945757EC-559D-416D-B354-C889B1CCAA5A}" type="datetime'''''''''''''''''''''''''''''''''''''''''''1''3''%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4" name="Text Placeholder">
            <a:extLst>
              <a:ext uri="{FF2B5EF4-FFF2-40B4-BE49-F238E27FC236}">
                <a16:creationId xmlns:a16="http://schemas.microsoft.com/office/drawing/2014/main" id="{EFF62914-D09A-C5B2-978C-B518E5179E1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648575" y="2462213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77F010-A38A-4865-BCCC-A34E96264F68}" type="datetime'''3''''''''''''''9'''''''''''''''',''''00''''''''''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A3A96569-97A4-4722-8C74-FF087F5C54C1}" type="datetime'''''''''''''''''11''''''''''%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33" name="Text Placeholder">
            <a:extLst>
              <a:ext uri="{FF2B5EF4-FFF2-40B4-BE49-F238E27FC236}">
                <a16:creationId xmlns:a16="http://schemas.microsoft.com/office/drawing/2014/main" id="{E7F564B1-D934-4125-B47C-382574E6505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654925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C78EB93-181E-44E0-89F9-3A43CBDD8CB4}" type="datetime'''''''''''''''''2''''''022'''">
              <a:rPr lang="en-GB" altLang="en-US" smtClean="0">
                <a:solidFill>
                  <a:srgbClr val="000000"/>
                </a:solidFill>
              </a:rPr>
              <a:pPr/>
              <a:t>2022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95" name="Text Placeholder">
            <a:extLst>
              <a:ext uri="{FF2B5EF4-FFF2-40B4-BE49-F238E27FC236}">
                <a16:creationId xmlns:a16="http://schemas.microsoft.com/office/drawing/2014/main" id="{26C91422-E708-5571-BAAF-E32D548F3D5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670925" y="4776788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4F288F9-D450-4E63-AEF7-67C5E58D94FF}" type="datetime'''''2''''''''''''''''20'''''''',''''''''''''''5''4''8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0,548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0AD89143-7E13-4E29-A63C-BA926FBB3E1C}" type="datetime'''''''''''''''''''''''''''6''''1''''''''''''''''%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6" name="Text Placeholder">
            <a:extLst>
              <a:ext uri="{FF2B5EF4-FFF2-40B4-BE49-F238E27FC236}">
                <a16:creationId xmlns:a16="http://schemas.microsoft.com/office/drawing/2014/main" id="{5BB03FFA-AD86-5031-D963-1CE05CB70F1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705850" y="337978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E2E0D9D-FBF3-4BB0-A555-0D55754FABF5}" type="datetime'''4''''3'''',''''''''''''''00''''''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12A3DCA3-EECF-4DB7-8B61-3703072AAEC3}" type="datetime'''''''''''''''''''''''''''''''''12''''''''''''%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7" name="Text Placeholder">
            <a:extLst>
              <a:ext uri="{FF2B5EF4-FFF2-40B4-BE49-F238E27FC236}">
                <a16:creationId xmlns:a16="http://schemas.microsoft.com/office/drawing/2014/main" id="{753C4BC9-25CD-8D88-C0FB-D3B516162E2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705850" y="280193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BF81085-DE72-408E-A573-10B278DBD8B7}" type="datetime'''''''''''''''5''''''''2'',''''''''''''0''''''''0''0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DAD693B4-D7B8-42CD-9649-32B1DC12987C}" type="datetime'1''''''4''%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8" name="Text Placeholder">
            <a:extLst>
              <a:ext uri="{FF2B5EF4-FFF2-40B4-BE49-F238E27FC236}">
                <a16:creationId xmlns:a16="http://schemas.microsoft.com/office/drawing/2014/main" id="{39E96D05-92FE-FEBE-3F74-27679F4D036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705850" y="232568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06BB08-4D3C-4678-93B1-22C4F213EAEC}" type="datetime'''3''''''''8'''''',''''''0''''''''''''''''''''0''''''''0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AEAFD2BC-140E-465D-904F-75163D6E727F}" type="datetime'''''''''''''''1''''''''''1%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34" name="Text Placeholder">
            <a:extLst>
              <a:ext uri="{FF2B5EF4-FFF2-40B4-BE49-F238E27FC236}">
                <a16:creationId xmlns:a16="http://schemas.microsoft.com/office/drawing/2014/main" id="{2FBA4A31-4C77-BD7D-2F88-BCEA9658073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712200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85D5265-B68D-49FB-ADBD-5AA5F0C45EA2}" type="datetime'''''2''0''''''2''''''''''''''''''''''3'''''''''''">
              <a:rPr lang="en-GB" altLang="en-US" smtClean="0">
                <a:solidFill>
                  <a:srgbClr val="000000"/>
                </a:solidFill>
              </a:rPr>
              <a:pPr/>
              <a:t>2023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51" name="Text Placeholder">
            <a:extLst>
              <a:ext uri="{FF2B5EF4-FFF2-40B4-BE49-F238E27FC236}">
                <a16:creationId xmlns:a16="http://schemas.microsoft.com/office/drawing/2014/main" id="{C8891F0A-17E7-EE82-AD13-50B0D4D4C75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9728200" y="4752975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95DF469-402E-4FF2-9143-1B3DE1C9BD14}" type="datetime'''2''''''2''4'''''''',''''''''''''''9''''''''''''5''''''''9'">
              <a:rPr lang="en-GB" altLang="en-US" sz="1000" smtClean="0">
                <a:solidFill>
                  <a:srgbClr val="FFFFFF"/>
                </a:solidFill>
              </a:rPr>
              <a:pPr/>
              <a:t>224,959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796D22E1-CF97-478C-A231-53DB89A9E3D3}" type="datetime'''''''''''6''''''''''''''''0''''%'''''''''''''''''">
              <a:rPr lang="en-GB" altLang="en-US" sz="1000" smtClean="0">
                <a:solidFill>
                  <a:srgbClr val="FFFFFF"/>
                </a:solidFill>
              </a:rPr>
              <a:pPr/>
              <a:t>60%</a:t>
            </a:fld>
            <a:r>
              <a:rPr lang="en-GB" altLang="en-US" sz="1000">
                <a:solidFill>
                  <a:srgbClr val="FFFFFF"/>
                </a:solidFill>
                <a:effectLst/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99" name="Text Placeholder">
            <a:extLst>
              <a:ext uri="{FF2B5EF4-FFF2-40B4-BE49-F238E27FC236}">
                <a16:creationId xmlns:a16="http://schemas.microsoft.com/office/drawing/2014/main" id="{E4886342-5021-0D74-39B3-019C5EEC319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763125" y="3322638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8AD77D4-FE0C-47DE-8842-4E27DF3AA135}" type="datetime'''''''''''4''''''5,0''''0''0''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FDF57E63-150F-473C-A1C6-E2415A08AC8F}" type="datetime'''''''''''''''1''2''''''''%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0" name="Text Placeholder">
            <a:extLst>
              <a:ext uri="{FF2B5EF4-FFF2-40B4-BE49-F238E27FC236}">
                <a16:creationId xmlns:a16="http://schemas.microsoft.com/office/drawing/2014/main" id="{140FED50-8995-F89B-34E0-8567F1EFA99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270000" y="4927600"/>
            <a:ext cx="488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CA2D87C-4A03-4976-813A-80148AC62E33}" type="datetime'''''''''''''''''1''''9''''''2'',''''0''''0''''''''''''''0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2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9222EFA0-02E7-403B-BC45-AD791CDC5653}" type="datetime'''''''''''7''''''''''''''''''''''''''''''''0''''''''''''%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601" name="Text Placeholder">
            <a:extLst>
              <a:ext uri="{FF2B5EF4-FFF2-40B4-BE49-F238E27FC236}">
                <a16:creationId xmlns:a16="http://schemas.microsoft.com/office/drawing/2014/main" id="{A1FE584F-440F-5A42-C2D2-341ABF5C20A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763125" y="218757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F5B270-DA63-40D0-A5D6-9B38D54DA317}" type="datetime'''''''3''7'''''''''''''''''''',''''''''00''''''''''''0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4EADBC8F-709A-4C37-B05B-1EB72D78A660}" type="datetime'''''''''''''''''''''''''''''''''''''''''''1''''''''0''%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35" name="Text Placeholder">
            <a:extLst>
              <a:ext uri="{FF2B5EF4-FFF2-40B4-BE49-F238E27FC236}">
                <a16:creationId xmlns:a16="http://schemas.microsoft.com/office/drawing/2014/main" id="{1130D922-427E-5188-28B6-7177A558BBFA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769475" y="61563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3DD8CC-0F36-4FAD-A689-9757E54C42C1}" type="datetime'''''''2''''''''''''0''''''2''''''''''''''''''''''4'''''''''''">
              <a:rPr lang="en-GB" altLang="en-US" smtClean="0">
                <a:solidFill>
                  <a:srgbClr val="000000"/>
                </a:solidFill>
              </a:rPr>
              <a:pPr/>
              <a:t>2024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71" name="Text Placeholder">
            <a:extLst>
              <a:ext uri="{FF2B5EF4-FFF2-40B4-BE49-F238E27FC236}">
                <a16:creationId xmlns:a16="http://schemas.microsoft.com/office/drawing/2014/main" id="{639CFD6A-CD01-D1CA-16FB-0C49A9F9E3F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304925" y="3756025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A31A109-9401-4F12-BA7E-2FF13C60C4A2}" type="datetime'2''''''9'''''',''''''0''''''0''''''''0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E50A017D-B168-4840-8152-577D82D21911}" type="datetime'1''''''''''1%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43" name="Text Placeholder">
            <a:extLst>
              <a:ext uri="{FF2B5EF4-FFF2-40B4-BE49-F238E27FC236}">
                <a16:creationId xmlns:a16="http://schemas.microsoft.com/office/drawing/2014/main" id="{A814CC54-DF5B-C1E7-05E5-638F2758246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169988" y="2935288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126E5B3-B679-4975-AF40-A41B5BD95620}" type="datetime'''''''''''''''''''27''''''''''6'''''''''',0''01''''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6,001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4" name="Text Placeholder">
            <a:extLst>
              <a:ext uri="{FF2B5EF4-FFF2-40B4-BE49-F238E27FC236}">
                <a16:creationId xmlns:a16="http://schemas.microsoft.com/office/drawing/2014/main" id="{BAF6CDA7-4F51-C748-8E84-A8145AED033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227263" y="2809875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5A808E-CC15-4C3E-B142-5D3995C0C88F}" type="datetime'''''''2''''8''''''''''''''''7'''',8''''''4''''''''1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7,841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00" name="Text Placeholder">
            <a:extLst>
              <a:ext uri="{FF2B5EF4-FFF2-40B4-BE49-F238E27FC236}">
                <a16:creationId xmlns:a16="http://schemas.microsoft.com/office/drawing/2014/main" id="{4BF0281A-8103-E25D-C8E6-7F4D7DCD552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763125" y="2692400"/>
            <a:ext cx="419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97886BD-CD00-4E4D-B535-B07FC87B6055}" type="datetime'''''''''''58'''''''''''''''',''''00''0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,00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B3BA8ED0-63C9-48FF-9A17-3F4C1AFFE5A6}" type="datetime'''''''1''''''''''''''''6%'''''''''''''''''''''''''">
              <a:rPr lang="en-GB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46" name="Text Placeholder">
            <a:extLst>
              <a:ext uri="{FF2B5EF4-FFF2-40B4-BE49-F238E27FC236}">
                <a16:creationId xmlns:a16="http://schemas.microsoft.com/office/drawing/2014/main" id="{5CE2C717-6C7B-452E-7BF5-1346ECD2949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348163" y="2555875"/>
            <a:ext cx="677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9E9DBC3-EA2C-4D68-9170-CBF975330B20}" type="datetime'''''''3''''''1''1'''''''''''''''''',''''753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1,753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7" name="Text Placeholder">
            <a:extLst>
              <a:ext uri="{FF2B5EF4-FFF2-40B4-BE49-F238E27FC236}">
                <a16:creationId xmlns:a16="http://schemas.microsoft.com/office/drawing/2014/main" id="{94A0B598-52A6-764C-10DB-329E1433493B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5399088" y="2427288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EE85276-B4DF-4613-A123-62DB8E5A738B}" type="datetime'3''''''2''''3,''''''8''''''''2''''''8''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3,828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8" name="Text Placeholder">
            <a:extLst>
              <a:ext uri="{FF2B5EF4-FFF2-40B4-BE49-F238E27FC236}">
                <a16:creationId xmlns:a16="http://schemas.microsoft.com/office/drawing/2014/main" id="{1580A18D-7E2E-F22B-CCDB-00968B3FF0D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456363" y="2298700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82154CB-6F4F-4682-B1A1-23707277E6CB}" type="datetime'''''''''''''3''3''''5'''''',''''''98''''''''''''''''''''''5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5,985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9" name="Text Placeholder">
            <a:extLst>
              <a:ext uri="{FF2B5EF4-FFF2-40B4-BE49-F238E27FC236}">
                <a16:creationId xmlns:a16="http://schemas.microsoft.com/office/drawing/2014/main" id="{E8A33EFD-8485-1918-476B-41247043D59E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513638" y="2170113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FFE8E3-48BA-4A96-84B2-E1C3854CE08C}" type="datetime'''''''''''3''4''''''''''''8'',''''''''2''''''''24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8,224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50" name="Text Placeholder">
            <a:extLst>
              <a:ext uri="{FF2B5EF4-FFF2-40B4-BE49-F238E27FC236}">
                <a16:creationId xmlns:a16="http://schemas.microsoft.com/office/drawing/2014/main" id="{F3DF58BF-2F90-9E23-AE3C-DA28B490793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8570913" y="2038350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42A9D7C-FB1C-4E02-AB16-FFA7722CE699}" type="datetime'''''3''''''''''''''''''''6''''''''''0'',''''5''4''''9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0,549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51" name="Text Placeholder">
            <a:extLst>
              <a:ext uri="{FF2B5EF4-FFF2-40B4-BE49-F238E27FC236}">
                <a16:creationId xmlns:a16="http://schemas.microsoft.com/office/drawing/2014/main" id="{335B4F27-ABFC-D6F1-07B0-265E658CD40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628188" y="1906588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829A69-E01B-414B-B6F7-C292BF873FEF}" type="datetime'''3''''''7''''2'''''''''''',''96''0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2,96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5" name="Text Placeholder">
            <a:extLst>
              <a:ext uri="{FF2B5EF4-FFF2-40B4-BE49-F238E27FC236}">
                <a16:creationId xmlns:a16="http://schemas.microsoft.com/office/drawing/2014/main" id="{BDD97BCE-D443-E79B-1067-D17752F39D4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3284538" y="2682875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D0C5B27-107E-4FC7-9291-A52095D235C6}" type="datetime'''''''''2''9''9'''''''',''''''7''''''''5''''''''''''''''''''8'">
              <a:rPr lang="en-GB" altLang="en-US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9,758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63" name="Text Placeholder">
            <a:extLst>
              <a:ext uri="{FF2B5EF4-FFF2-40B4-BE49-F238E27FC236}">
                <a16:creationId xmlns:a16="http://schemas.microsoft.com/office/drawing/2014/main" id="{11C0F24D-46CA-7F1B-D7E2-E612BCDAE31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487988" y="2024063"/>
            <a:ext cx="511175" cy="301625"/>
          </a:xfrm>
          <a:prstGeom prst="ellipse">
            <a:avLst/>
          </a:prstGeom>
          <a:solidFill>
            <a:srgbClr val="FFFFFF"/>
          </a:solidFill>
          <a:ln w="9525" cmpd="sng" algn="ctr">
            <a:solidFill>
              <a:srgbClr val="000000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021BB3C-FA45-4E77-8BEE-2736349B1047}" type="datetime'''''''''''''''''+''''''4''''''''''''''%'">
              <a:rPr lang="en-GB" altLang="en-US" b="1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%</a:t>
            </a:fld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6C02E49B-B59F-D305-9F89-1529834BA530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877550" y="4764088"/>
            <a:ext cx="250825" cy="187325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F77A4378-9007-662F-826E-73A81E99F2C0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877550" y="5027613"/>
            <a:ext cx="250825" cy="187325"/>
          </a:xfrm>
          <a:prstGeom prst="rect">
            <a:avLst/>
          </a:prstGeom>
          <a:solidFill>
            <a:srgbClr val="2C475A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64931B7C-F828-7C9C-29A0-8DF880A4F252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0877550" y="5291138"/>
            <a:ext cx="250825" cy="187325"/>
          </a:xfrm>
          <a:prstGeom prst="rect">
            <a:avLst/>
          </a:prstGeom>
          <a:solidFill>
            <a:srgbClr val="858585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2C718877-9863-D863-008B-40A7C888E5F6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0877550" y="5554663"/>
            <a:ext cx="250825" cy="187325"/>
          </a:xfrm>
          <a:prstGeom prst="rect">
            <a:avLst/>
          </a:prstGeom>
          <a:solidFill>
            <a:srgbClr val="5C5C5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EB6A501D-2FC0-3D47-476C-357F6023050C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0877550" y="5818188"/>
            <a:ext cx="250825" cy="187325"/>
          </a:xfrm>
          <a:prstGeom prst="rect">
            <a:avLst/>
          </a:prstGeom>
          <a:solidFill>
            <a:srgbClr val="333333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18" name="Text Placeholder">
            <a:extLst>
              <a:ext uri="{FF2B5EF4-FFF2-40B4-BE49-F238E27FC236}">
                <a16:creationId xmlns:a16="http://schemas.microsoft.com/office/drawing/2014/main" id="{722805BB-E55F-2D5D-B1B3-AD10973D1D9B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1179175" y="4759325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616D072-BB61-4673-9888-B65B64FCCB9E}" type="datetime'''''''''S''''''''''''''''''er''''i''''''''''''e''''s'''' 5'''">
              <a:rPr lang="en-GB" altLang="en-US" smtClean="0">
                <a:solidFill>
                  <a:srgbClr val="000000"/>
                </a:solidFill>
                <a:effectLst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Series 5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20" name="Text Placeholder">
            <a:extLst>
              <a:ext uri="{FF2B5EF4-FFF2-40B4-BE49-F238E27FC236}">
                <a16:creationId xmlns:a16="http://schemas.microsoft.com/office/drawing/2014/main" id="{D73287F0-A3DA-93CE-64B1-F7239456E47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1179175" y="5022850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066430F-9990-442B-B064-F1D089B0B53E}" type="datetime'S''''''''''''e''''''''''r''i''''''''''e''''''''s ''''''''''4'">
              <a:rPr lang="en-GB" altLang="en-US" smtClean="0">
                <a:solidFill>
                  <a:srgbClr val="000000"/>
                </a:solidFill>
                <a:effectLst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Series 4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21" name="Text Placeholder">
            <a:extLst>
              <a:ext uri="{FF2B5EF4-FFF2-40B4-BE49-F238E27FC236}">
                <a16:creationId xmlns:a16="http://schemas.microsoft.com/office/drawing/2014/main" id="{CB4C6DD7-375A-9A56-B6A3-2740B78D44FE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1179175" y="5286375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1E57633-6ECE-4033-83C9-A50FA7188207}" type="datetime'''''S''''''eri''''''''''es'''''''''' ''3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19" name="Text Placeholder">
            <a:extLst>
              <a:ext uri="{FF2B5EF4-FFF2-40B4-BE49-F238E27FC236}">
                <a16:creationId xmlns:a16="http://schemas.microsoft.com/office/drawing/2014/main" id="{DBF0EB55-ECC4-D100-760E-8102D279954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1179175" y="5549900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EEA7322-9A17-4342-BA4F-F1B7C4E175F4}" type="datetime'''''''''''S''''''''er''i''e''''''''''s'' ''''''2'''''''''">
              <a:rPr lang="en-GB" altLang="en-US" smtClean="0">
                <a:solidFill>
                  <a:srgbClr val="000000"/>
                </a:solidFill>
                <a:effectLst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16" name="Text Placeholder">
            <a:extLst>
              <a:ext uri="{FF2B5EF4-FFF2-40B4-BE49-F238E27FC236}">
                <a16:creationId xmlns:a16="http://schemas.microsoft.com/office/drawing/2014/main" id="{BDEF87B3-5A5E-4E65-AAC8-70012360CC6E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1179175" y="5813425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F472C4B-7920-45F9-AAFD-A13F94F6359D}" type="datetime'''''''''''''''S''''''''''''e''''''r''i''es'''''''''''' ''1'">
              <a:rPr lang="en-GB" altLang="en-US" smtClean="0">
                <a:solidFill>
                  <a:srgbClr val="000000"/>
                </a:solidFill>
                <a:effectLst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24" name="Text Placeholder">
            <a:extLst>
              <a:ext uri="{FF2B5EF4-FFF2-40B4-BE49-F238E27FC236}">
                <a16:creationId xmlns:a16="http://schemas.microsoft.com/office/drawing/2014/main" id="{1205F430-50A6-68C5-BBD4-1BA36F8CB6FC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0" y="276224"/>
            <a:ext cx="12192000" cy="617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22238" tIns="0" rIns="0" bIns="252413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2400" dirty="0">
                <a:solidFill>
                  <a:srgbClr val="000000"/>
                </a:solidFill>
                <a:effectLst/>
              </a:rPr>
              <a:t>Title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10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London"/>
  <p:tag name="THINKCELLPRESENTATIONDONOTDELETE" val="&lt;?xml version=&quot;1.0&quot; encoding=&quot;UTF-16&quot; standalone=&quot;yes&quot;?&gt;&lt;root reqver=&quot;28224&quot;&gt;&lt;version val=&quot;354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eKFvILiq1gAOE_a6Vn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wrmIekILhzlodTzPw1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aVE0EjgdGGe0229uB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_rcvI3g_lhz_Om3aaQ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XzdeiblyLySfiFVDw84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nZ2GjwCWurBk19nX8a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jJmzMxJX2A6jpnjwY0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bwQXvIji7kEnmjV999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I6a1E92shgfA_5rdXV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k2ErrKefk63k7DA6Yn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_c0spGX1y33hKEYUIe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AmftKmrRB6Pxd1lbvK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7N1OrGe23qL.hticdz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E.yJBl314Lphy33JZw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K8do3wlYXY_XWtwEX.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6SzSowMnjpLo2Iql6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QfiBqKy_S6xgmlIhQx5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I6X27c81lHSrmZZ0B1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DVaUkASiI91ULus3l_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bC.gxf3BspoBRn5Wex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bMxLemBnezDWr6Iup3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a11gfjPV8OULItjcOb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YsxF53ckenn6y.EeT5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TlhLjmePrQvzBlt_oW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hcqqvt1d4wpecAi_CeP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ucBql8uv28RwhKmeHi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0w7X.SrcbbukiqbrQd5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l11i4Fq38J0Z18asjg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Y46NbUDQ8tzJUGyJFp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Q8xCe0dJyPp43UltA6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c_NuP41H9Hdk07WDNw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MHoHhmV8pC_hHkGvo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26OWHLRbY0rTzyo_Xa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a4YHk1NfOd10dF.xNq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kbRITAzwbGnJbP2o0D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ca53ZpEyYNSLhtUNGKb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xAE8B.8aSiBUc9Te1g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wXis.e8RxSSl7wu7E4g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AS5I0CNBrmjTkKWn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VbVz0IuIXHpVXl0vs9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EtXhzTok9RQ222FCSe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Ll7THA.KadkTrbj_j5s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Fyx2.XgrFn.k8C_oe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0CxgXYqaaQ5LKJEfm5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2a57jZv3TvjGzgczTC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ZNm9CZyw98Y2KdNYB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FF5U8QP3V5l2bufD4L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va1mXJpM4apedE1xh6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5wclt2Vi7PRY9lomJ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FAivRGoKOvjOmKjyZ9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Gj07hzWTwZf1lP4884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lyfpNvxXf8iJyFnIt.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wh7NdQXVEYnWc1pzo14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4XNLUMXTv80VA86irJ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rrJCjlKMHsaGxHm1BB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yFp.DkA9IJEkBcq7m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JaB5w_q5DWeoSI8OYP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QPYkM_RJuFBdcTUUo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_2t7iWwssw1Jf54ju8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K0G4x50Mf2LAOezgI9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8KVnip17A9wG5GgXlt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hVjl3XeqxY0Cklb4B.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zLEC2f0p7g.HWpFdls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YMgQ3qgqVioizsRqI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Pj_SlCUG3adC73DK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PX3xX4CLTIaSdrfXAF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iwjtJqh7zLdXYKJ0UY4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xbrGJPxsr5zWXZ2mWg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5qwmkaD6re6bjrLSSn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QnyTFYC38L2CeJkcm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uoCuc8kLQrPIu.luzXoQ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134</TotalTime>
  <Words>195</Words>
  <Application>Microsoft Office PowerPoint</Application>
  <PresentationFormat>Widescreen</PresentationFormat>
  <Paragraphs>6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Bain Core</vt:lpstr>
      <vt:lpstr>think-cell Slide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rmesher, Cameron</dc:creator>
  <cp:lastModifiedBy>Ollie Thurston</cp:lastModifiedBy>
  <cp:revision>5</cp:revision>
  <cp:lastPrinted>2017-02-15T14:23:56Z</cp:lastPrinted>
  <dcterms:created xsi:type="dcterms:W3CDTF">2024-06-18T09:15:28Z</dcterms:created>
  <dcterms:modified xsi:type="dcterms:W3CDTF">2024-06-18T15:11:29Z</dcterms:modified>
</cp:coreProperties>
</file>